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60" r:id="rId1"/>
  </p:sldMasterIdLst>
  <p:sldIdLst>
    <p:sldId id="260" r:id="rId2"/>
    <p:sldId id="261" r:id="rId3"/>
    <p:sldId id="262" r:id="rId4"/>
    <p:sldId id="270" r:id="rId5"/>
    <p:sldId id="264" r:id="rId6"/>
    <p:sldId id="265" r:id="rId7"/>
    <p:sldId id="266" r:id="rId8"/>
    <p:sldId id="268" r:id="rId9"/>
    <p:sldId id="269" r:id="rId10"/>
    <p:sldId id="271" r:id="rId11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171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51" autoAdjust="0"/>
  </p:normalViewPr>
  <p:slideViewPr>
    <p:cSldViewPr>
      <p:cViewPr>
        <p:scale>
          <a:sx n="87" d="100"/>
          <a:sy n="87" d="100"/>
        </p:scale>
        <p:origin x="-2304" y="-59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422030" y="1371600"/>
            <a:ext cx="8229600" cy="1828800"/>
          </a:xfrm>
        </p:spPr>
        <p:txBody>
          <a:bodyPr vert="horz" lIns="45720" tIns="0" rIns="45720" bIns="0" anchor="b">
            <a:normAutofit/>
            <a:scene3d>
              <a:camera prst="orthographicFront"/>
              <a:lightRig rig="soft" dir="t">
                <a:rot lat="0" lon="0" rev="17220000"/>
              </a:lightRig>
            </a:scene3d>
            <a:sp3d prstMaterial="softEdge">
              <a:bevelT w="38100" h="38100"/>
            </a:sp3d>
          </a:bodyPr>
          <a:lstStyle>
            <a:lvl1pPr>
              <a:defRPr sz="4800" b="1" cap="all" baseline="0">
                <a:ln w="6350">
                  <a:noFill/>
                </a:ln>
                <a:gradFill>
                  <a:gsLst>
                    <a:gs pos="0">
                      <a:schemeClr val="accent1">
                        <a:tint val="73000"/>
                        <a:satMod val="145000"/>
                      </a:schemeClr>
                    </a:gs>
                    <a:gs pos="73000">
                      <a:schemeClr val="accent1">
                        <a:tint val="73000"/>
                        <a:satMod val="145000"/>
                      </a:schemeClr>
                    </a:gs>
                    <a:gs pos="100000">
                      <a:schemeClr val="accent1">
                        <a:tint val="83000"/>
                        <a:satMod val="143000"/>
                      </a:schemeClr>
                    </a:gs>
                  </a:gsLst>
                  <a:lin ang="4800000" scaled="1"/>
                </a:gradFill>
                <a:effectLst>
                  <a:outerShdw blurRad="127000" dist="2000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8" name="Дата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6119C-C37E-436E-B7A2-A57506385596}" type="datetimeFigureOut">
              <a:rPr lang="ru-RU" smtClean="0"/>
              <a:pPr/>
              <a:t>08.04.2014</a:t>
            </a:fld>
            <a:endParaRPr lang="ru-RU"/>
          </a:p>
        </p:txBody>
      </p:sp>
      <p:sp>
        <p:nvSpPr>
          <p:cNvPr id="17" name="Нижний колонтитул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9" name="Номер слайда 2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D4D05-5EEC-44D8-B006-B59710BCE1A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1371600" y="3331698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6119C-C37E-436E-B7A2-A57506385596}" type="datetimeFigureOut">
              <a:rPr lang="ru-RU" smtClean="0"/>
              <a:pPr/>
              <a:t>08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D4D05-5EEC-44D8-B006-B59710BCE1A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6119C-C37E-436E-B7A2-A57506385596}" type="datetimeFigureOut">
              <a:rPr lang="ru-RU" smtClean="0"/>
              <a:pPr/>
              <a:t>08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D4D05-5EEC-44D8-B006-B59710BCE1A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6119C-C37E-436E-B7A2-A57506385596}" type="datetimeFigureOut">
              <a:rPr lang="ru-RU" smtClean="0"/>
              <a:pPr/>
              <a:t>08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D4D05-5EEC-44D8-B006-B59710BCE1A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00200" y="609600"/>
            <a:ext cx="7086600" cy="1828800"/>
          </a:xfrm>
        </p:spPr>
        <p:txBody>
          <a:bodyPr vert="horz" bIns="0" anchor="b">
            <a:noAutofit/>
            <a:scene3d>
              <a:camera prst="orthographicFront"/>
              <a:lightRig rig="soft" dir="t">
                <a:rot lat="0" lon="0" rev="17220000"/>
              </a:lightRig>
            </a:scene3d>
            <a:sp3d prstMaterial="softEdge">
              <a:bevelT w="38100" h="38100"/>
              <a:contourClr>
                <a:schemeClr val="tx2">
                  <a:shade val="50000"/>
                </a:schemeClr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4800" b="1" cap="none" baseline="0">
                <a:ln w="6350">
                  <a:noFill/>
                </a:ln>
                <a:solidFill>
                  <a:schemeClr val="accent1">
                    <a:tint val="90000"/>
                    <a:satMod val="12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600200" y="2507786"/>
            <a:ext cx="7086600" cy="1509712"/>
          </a:xfrm>
        </p:spPr>
        <p:txBody>
          <a:bodyPr anchor="t"/>
          <a:lstStyle>
            <a:lvl1pPr marL="73152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6119C-C37E-436E-B7A2-A57506385596}" type="datetimeFigureOut">
              <a:rPr lang="ru-RU" smtClean="0"/>
              <a:pPr/>
              <a:t>08.04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924800" y="6416675"/>
            <a:ext cx="762000" cy="365125"/>
          </a:xfrm>
        </p:spPr>
        <p:txBody>
          <a:bodyPr/>
          <a:lstStyle/>
          <a:p>
            <a:fld id="{D0AD4D05-5EEC-44D8-B006-B59710BCE1A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zoom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6119C-C37E-436E-B7A2-A57506385596}" type="datetimeFigureOut">
              <a:rPr lang="ru-RU" smtClean="0"/>
              <a:pPr/>
              <a:t>08.04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D4D05-5EEC-44D8-B006-B59710BCE1A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2"/>
            <a:ext cx="4040188" cy="750887"/>
          </a:xfrm>
        </p:spPr>
        <p:txBody>
          <a:bodyPr anchor="ctr"/>
          <a:lstStyle>
            <a:lvl1pPr marL="0" indent="0">
              <a:buNone/>
              <a:defRPr sz="2400" b="0" cap="all" baseline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5025" y="1535112"/>
            <a:ext cx="4041775" cy="750887"/>
          </a:xfrm>
        </p:spPr>
        <p:txBody>
          <a:bodyPr anchor="ctr"/>
          <a:lstStyle>
            <a:lvl1pPr marL="0" indent="0">
              <a:buNone/>
              <a:defRPr sz="2400" b="0" cap="all" baseline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2362200"/>
            <a:ext cx="4040188" cy="3763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362200"/>
            <a:ext cx="4041775" cy="3763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6119C-C37E-436E-B7A2-A57506385596}" type="datetimeFigureOut">
              <a:rPr lang="ru-RU" smtClean="0"/>
              <a:pPr/>
              <a:t>08.04.201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D4D05-5EEC-44D8-B006-B59710BCE1A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6119C-C37E-436E-B7A2-A57506385596}" type="datetimeFigureOut">
              <a:rPr lang="ru-RU" smtClean="0"/>
              <a:pPr/>
              <a:t>08.04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D4D05-5EEC-44D8-B006-B59710BCE1A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6119C-C37E-436E-B7A2-A57506385596}" type="datetimeFigureOut">
              <a:rPr lang="ru-RU" smtClean="0"/>
              <a:pPr/>
              <a:t>08.04.201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D4D05-5EEC-44D8-B006-B59710BCE1A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vert="horz" anchor="b">
            <a:normAutofit/>
            <a:sp3d prstMaterial="softEdge"/>
          </a:bodyPr>
          <a:lstStyle>
            <a:lvl1pPr algn="l">
              <a:buNone/>
              <a:defRPr sz="2200" b="0">
                <a:ln w="6350">
                  <a:noFill/>
                </a:ln>
                <a:solidFill>
                  <a:schemeClr val="accent1">
                    <a:tint val="73000"/>
                    <a:satMod val="180000"/>
                  </a:schemeClr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524000"/>
            <a:ext cx="3008313" cy="4602163"/>
          </a:xfrm>
        </p:spPr>
        <p:txBody>
          <a:bodyPr/>
          <a:lstStyle>
            <a:lvl1pPr marL="0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6119C-C37E-436E-B7A2-A57506385596}" type="datetimeFigureOut">
              <a:rPr lang="ru-RU" smtClean="0"/>
              <a:pPr/>
              <a:t>08.04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D4D05-5EEC-44D8-B006-B59710BCE1A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28800" y="609600"/>
            <a:ext cx="5486400" cy="522288"/>
          </a:xfrm>
        </p:spPr>
        <p:txBody>
          <a:bodyPr lIns="45720" rIns="45720" bIns="0" anchor="b">
            <a:sp3d prstMaterial="softEdge"/>
          </a:bodyPr>
          <a:lstStyle>
            <a:lvl1pPr algn="ctr">
              <a:buNone/>
              <a:defRPr sz="2000" b="1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828800" y="1831975"/>
            <a:ext cx="5486400" cy="3962400"/>
          </a:xfrm>
          <a:solidFill>
            <a:schemeClr val="bg2"/>
          </a:solidFill>
          <a:ln w="44450" cap="sq" cmpd="sng" algn="ctr">
            <a:solidFill>
              <a:srgbClr val="FFFFFF"/>
            </a:solidFill>
            <a:prstDash val="solid"/>
            <a:miter lim="800000"/>
          </a:ln>
          <a:effectLst>
            <a:outerShdw blurRad="190500" dist="228600" dir="2700000" sy="90000">
              <a:srgbClr val="000000">
                <a:alpha val="25000"/>
              </a:srgbClr>
            </a:outerShdw>
          </a:effectLst>
          <a:scene3d>
            <a:camera prst="orthographicFront">
              <a:rot lat="0" lon="0" rev="0"/>
            </a:camera>
            <a:lightRig rig="balanced" dir="tr">
              <a:rot lat="0" lon="0" rev="2700000"/>
            </a:lightRig>
          </a:scene3d>
          <a:sp3d prstMaterial="matte">
            <a:contourClr>
              <a:schemeClr val="tx2">
                <a:shade val="50000"/>
              </a:schemeClr>
            </a:contourClr>
          </a:sp3d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/>
          <a:lstStyle>
            <a:lvl1pPr indent="0">
              <a:buNone/>
              <a:defRPr sz="3200"/>
            </a:lvl1pPr>
          </a:lstStyle>
          <a:p>
            <a:pPr marL="0" algn="l" rtl="0" eaLnBrk="1" latinLnBrk="0" hangingPunct="1"/>
            <a:r>
              <a:rPr kumimoji="0" lang="ru-RU" smtClean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Вставка рисунка</a:t>
            </a:r>
            <a:endParaRPr kumimoji="0"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828800" y="1166787"/>
            <a:ext cx="5486400" cy="530352"/>
          </a:xfrm>
        </p:spPr>
        <p:txBody>
          <a:bodyPr lIns="45720" tIns="45720" rIns="45720" anchor="t"/>
          <a:lstStyle>
            <a:lvl1pPr marL="0" indent="0" algn="ct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F6119C-C37E-436E-B7A2-A57506385596}" type="datetimeFigureOut">
              <a:rPr lang="ru-RU" smtClean="0"/>
              <a:pPr/>
              <a:t>08.04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AD4D05-5EEC-44D8-B006-B59710BCE1A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2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>
                <a:rot lat="0" lon="0" rev="16800000"/>
              </a:lightRig>
            </a:scene3d>
            <a:sp3d prstMaterial="softEdge">
              <a:bevelT w="38100" h="38100"/>
            </a:sp3d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70916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457200" y="6416675"/>
            <a:ext cx="2133600" cy="365125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200">
                <a:solidFill>
                  <a:schemeClr val="tx1">
                    <a:shade val="50000"/>
                  </a:schemeClr>
                </a:solidFill>
              </a:defRPr>
            </a:lvl1pPr>
          </a:lstStyle>
          <a:p>
            <a:fld id="{B5F6119C-C37E-436E-B7A2-A57506385596}" type="datetimeFigureOut">
              <a:rPr lang="ru-RU" smtClean="0"/>
              <a:pPr/>
              <a:t>08.04.201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3124200" y="6416675"/>
            <a:ext cx="2895600" cy="365125"/>
          </a:xfrm>
          <a:prstGeom prst="rect">
            <a:avLst/>
          </a:prstGeom>
        </p:spPr>
        <p:txBody>
          <a:bodyPr vert="horz" anchor="b"/>
          <a:lstStyle>
            <a:lvl1pPr algn="ctr" eaLnBrk="1" latinLnBrk="0" hangingPunct="1">
              <a:defRPr kumimoji="0" sz="1200">
                <a:solidFill>
                  <a:schemeClr val="tx1">
                    <a:shade val="5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7924800" y="6416675"/>
            <a:ext cx="762000" cy="365125"/>
          </a:xfrm>
          <a:prstGeom prst="rect">
            <a:avLst/>
          </a:prstGeom>
        </p:spPr>
        <p:txBody>
          <a:bodyPr vert="horz" lIns="0" rIns="0" anchor="b"/>
          <a:lstStyle>
            <a:lvl1pPr algn="r" eaLnBrk="1" latinLnBrk="0" hangingPunct="1">
              <a:defRPr kumimoji="0" sz="1200">
                <a:solidFill>
                  <a:schemeClr val="tx1">
                    <a:shade val="50000"/>
                  </a:schemeClr>
                </a:solidFill>
              </a:defRPr>
            </a:lvl1pPr>
          </a:lstStyle>
          <a:p>
            <a:fld id="{D0AD4D05-5EEC-44D8-B006-B59710BCE1AD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64" r:id="rId4"/>
    <p:sldLayoutId id="2147483965" r:id="rId5"/>
    <p:sldLayoutId id="2147483966" r:id="rId6"/>
    <p:sldLayoutId id="2147483967" r:id="rId7"/>
    <p:sldLayoutId id="2147483968" r:id="rId8"/>
    <p:sldLayoutId id="2147483969" r:id="rId9"/>
    <p:sldLayoutId id="2147483970" r:id="rId10"/>
    <p:sldLayoutId id="2147483971" r:id="rId11"/>
  </p:sldLayoutIdLst>
  <p:transition spd="med">
    <p:zoom/>
  </p:transition>
  <p:timing>
    <p:tnLst>
      <p:par>
        <p:cTn id="1" dur="indefinite" restart="never" nodeType="tmRoot"/>
      </p:par>
    </p:tnLst>
  </p:timing>
  <p:txStyles>
    <p:titleStyle>
      <a:lvl1pPr algn="ctr" rtl="0" eaLnBrk="1" latinLnBrk="0" hangingPunct="1">
        <a:spcBef>
          <a:spcPct val="0"/>
        </a:spcBef>
        <a:buNone/>
        <a:defRPr kumimoji="0" sz="4100" b="1" kern="1200" cap="none" baseline="0">
          <a:ln w="6350">
            <a:noFill/>
          </a:ln>
          <a:gradFill>
            <a:gsLst>
              <a:gs pos="0">
                <a:schemeClr val="accent1">
                  <a:tint val="73000"/>
                  <a:satMod val="145000"/>
                </a:schemeClr>
              </a:gs>
              <a:gs pos="73000">
                <a:schemeClr val="accent1">
                  <a:tint val="73000"/>
                  <a:satMod val="145000"/>
                </a:schemeClr>
              </a:gs>
              <a:gs pos="100000">
                <a:schemeClr val="accent1">
                  <a:tint val="83000"/>
                  <a:satMod val="143000"/>
                </a:schemeClr>
              </a:gs>
            </a:gsLst>
            <a:lin ang="4800000" scaled="1"/>
          </a:gradFill>
          <a:effectLst>
            <a:outerShdw blurRad="114300" dist="101600" dir="2700000" algn="tl" rotWithShape="0">
              <a:srgbClr val="000000">
                <a:alpha val="40000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548640" indent="-411480" algn="l" rtl="0" eaLnBrk="1" latinLnBrk="0" hangingPunct="1">
        <a:spcBef>
          <a:spcPct val="20000"/>
        </a:spcBef>
        <a:buClr>
          <a:schemeClr val="tx1">
            <a:shade val="95000"/>
          </a:schemeClr>
        </a:buClr>
        <a:buSzPct val="65000"/>
        <a:buFont typeface="Wingdings 2"/>
        <a:buChar char="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868680" indent="-283464" algn="l" rtl="0" eaLnBrk="1" latinLnBrk="0" hangingPunct="1">
        <a:spcBef>
          <a:spcPct val="20000"/>
        </a:spcBef>
        <a:buClr>
          <a:schemeClr val="tx1"/>
        </a:buClr>
        <a:buSzPct val="80000"/>
        <a:buFont typeface="Wingdings 2"/>
        <a:buChar char="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3856" indent="-228600" algn="l" rtl="0" eaLnBrk="1" latinLnBrk="0" hangingPunct="1">
        <a:spcBef>
          <a:spcPct val="20000"/>
        </a:spcBef>
        <a:buClr>
          <a:schemeClr val="tx1"/>
        </a:buClr>
        <a:buSzPct val="95000"/>
        <a:buFont typeface="Wingdings"/>
        <a:buChar char=""/>
        <a:defRPr kumimoji="0"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353312" indent="-182880" algn="l" rtl="0" eaLnBrk="1" latinLnBrk="0" hangingPunct="1">
        <a:spcBef>
          <a:spcPct val="20000"/>
        </a:spcBef>
        <a:buClr>
          <a:schemeClr val="tx1"/>
        </a:buClr>
        <a:buSzPct val="100000"/>
        <a:buFont typeface="Wingdings 3"/>
        <a:buChar char="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5336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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64792" indent="-182880" algn="l" rtl="0" eaLnBrk="1" latinLnBrk="0" hangingPunct="1">
        <a:spcBef>
          <a:spcPct val="20000"/>
        </a:spcBef>
        <a:buClr>
          <a:schemeClr val="tx1"/>
        </a:buClr>
        <a:buFont typeface="Wingdings 3"/>
        <a:buChar char="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65960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167128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368296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8.xml"/><Relationship Id="rId7" Type="http://schemas.openxmlformats.org/officeDocument/2006/relationships/image" Target="../media/image2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12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8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3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8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3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8.xml"/><Relationship Id="rId7" Type="http://schemas.openxmlformats.org/officeDocument/2006/relationships/image" Target="../media/image2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3.xml"/><Relationship Id="rId7" Type="http://schemas.openxmlformats.org/officeDocument/2006/relationships/image" Target="../media/image2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8.xml"/><Relationship Id="rId7" Type="http://schemas.openxmlformats.org/officeDocument/2006/relationships/image" Target="../media/image2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40.xml"/><Relationship Id="rId4" Type="http://schemas.openxmlformats.org/officeDocument/2006/relationships/tags" Target="../tags/tag39.xml"/><Relationship Id="rId9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3.xml"/><Relationship Id="rId7" Type="http://schemas.openxmlformats.org/officeDocument/2006/relationships/image" Target="../media/image2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45.xml"/><Relationship Id="rId4" Type="http://schemas.openxmlformats.org/officeDocument/2006/relationships/tags" Target="../tags/tag44.xml"/><Relationship Id="rId9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Группа 12"/>
          <p:cNvGrpSpPr>
            <a:grpSpLocks/>
          </p:cNvGrpSpPr>
          <p:nvPr/>
        </p:nvGrpSpPr>
        <p:grpSpPr bwMode="auto">
          <a:xfrm>
            <a:off x="0" y="0"/>
            <a:ext cx="9667751" cy="822326"/>
            <a:chOff x="0" y="-792087"/>
            <a:chExt cx="9667727" cy="822325"/>
          </a:xfrm>
        </p:grpSpPr>
        <p:grpSp>
          <p:nvGrpSpPr>
            <p:cNvPr id="44" name="Group 2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0" y="-792087"/>
              <a:ext cx="9143978" cy="822325"/>
              <a:chOff x="0" y="-764052"/>
              <a:chExt cx="9905976" cy="821625"/>
            </a:xfrm>
          </p:grpSpPr>
          <p:pic>
            <p:nvPicPr>
              <p:cNvPr id="49" name="Picture 19" descr="bg-top-left.gif"/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>
              <a:blip r:embed="rId7" cstate="print"/>
              <a:srcRect t="21519"/>
              <a:stretch>
                <a:fillRect/>
              </a:stretch>
            </p:blipFill>
            <p:spPr bwMode="auto">
              <a:xfrm>
                <a:off x="0" y="-764052"/>
                <a:ext cx="3525078" cy="821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" name="Picture 21" descr="bg-top-left.gif"/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>
              <a:blip r:embed="rId7" cstate="print"/>
              <a:srcRect l="82330" t="21519"/>
              <a:stretch>
                <a:fillRect/>
              </a:stretch>
            </p:blipFill>
            <p:spPr bwMode="auto">
              <a:xfrm>
                <a:off x="2544394" y="-764052"/>
                <a:ext cx="7361582" cy="821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46" name="Text 1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07504" y="-531439"/>
              <a:ext cx="9560223" cy="30797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330200" eaLnBrk="0" hangingPunct="0">
                <a:buFont typeface="Arial" charset="0"/>
                <a:buNone/>
              </a:pPr>
              <a:r>
                <a:rPr lang="ru-RU" sz="2000" b="1" dirty="0">
                  <a:solidFill>
                    <a:srgbClr val="832521"/>
                  </a:solidFill>
                  <a:cs typeface="Times New Roman" pitchFamily="18" charset="0"/>
                </a:rPr>
                <a:t>ДЕПАРТАМЕНТ ТОРГОВЛИ И УСЛУГ ГОРОДА МОСКВЫ </a:t>
              </a:r>
            </a:p>
          </p:txBody>
        </p:sp>
      </p:grpSp>
      <p:pic>
        <p:nvPicPr>
          <p:cNvPr id="53" name="Picture 27" descr="emblem.gi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386763" y="0"/>
            <a:ext cx="646112" cy="836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" name="TextBox 56"/>
          <p:cNvSpPr txBox="1"/>
          <p:nvPr/>
        </p:nvSpPr>
        <p:spPr>
          <a:xfrm>
            <a:off x="331370" y="1556792"/>
            <a:ext cx="8565331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ЕДОСТАВЛЕНИЕ МЕСТА НА ЯРМАРКЕ ВЫХОДНОГО ДНЯ </a:t>
            </a:r>
          </a:p>
          <a:p>
            <a:pPr algn="ctr"/>
            <a:r>
              <a:rPr lang="ru-RU" sz="3200" b="1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В ЭЛЕКТРОННОМ ВИДЕ ЧЕРЕЗ ПОРТАЛ ГОСУДАРСТВЕННЫХ УСЛУГ ГОРОДА МОСКВЫ</a:t>
            </a:r>
            <a:endParaRPr lang="ru-RU" sz="3200" b="1" dirty="0">
              <a:solidFill>
                <a:schemeClr val="tx2">
                  <a:lumMod val="40000"/>
                  <a:lumOff val="6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Box 54"/>
          <p:cNvSpPr txBox="1"/>
          <p:nvPr/>
        </p:nvSpPr>
        <p:spPr>
          <a:xfrm>
            <a:off x="1259632" y="1124744"/>
            <a:ext cx="1440160" cy="9360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grpSp>
        <p:nvGrpSpPr>
          <p:cNvPr id="2" name="Группа 12"/>
          <p:cNvGrpSpPr>
            <a:grpSpLocks/>
          </p:cNvGrpSpPr>
          <p:nvPr/>
        </p:nvGrpSpPr>
        <p:grpSpPr bwMode="auto">
          <a:xfrm>
            <a:off x="0" y="0"/>
            <a:ext cx="9667751" cy="822326"/>
            <a:chOff x="0" y="-792087"/>
            <a:chExt cx="9667727" cy="822325"/>
          </a:xfrm>
        </p:grpSpPr>
        <p:grpSp>
          <p:nvGrpSpPr>
            <p:cNvPr id="3" name="Group 2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0" y="-792087"/>
              <a:ext cx="9143978" cy="822325"/>
              <a:chOff x="0" y="-764052"/>
              <a:chExt cx="9905976" cy="821625"/>
            </a:xfrm>
          </p:grpSpPr>
          <p:pic>
            <p:nvPicPr>
              <p:cNvPr id="49" name="Picture 19" descr="bg-top-left.gif"/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>
              <a:blip r:embed="rId7" cstate="print"/>
              <a:srcRect t="21519"/>
              <a:stretch>
                <a:fillRect/>
              </a:stretch>
            </p:blipFill>
            <p:spPr bwMode="auto">
              <a:xfrm>
                <a:off x="0" y="-764052"/>
                <a:ext cx="3525078" cy="821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" name="Picture 21" descr="bg-top-left.gif"/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>
              <a:blip r:embed="rId7" cstate="print"/>
              <a:srcRect l="82330" t="21519"/>
              <a:stretch>
                <a:fillRect/>
              </a:stretch>
            </p:blipFill>
            <p:spPr bwMode="auto">
              <a:xfrm>
                <a:off x="2544394" y="-764052"/>
                <a:ext cx="7361582" cy="821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46" name="Text 1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07504" y="-531439"/>
              <a:ext cx="9560223" cy="30797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330200" eaLnBrk="0" hangingPunct="0">
                <a:buFont typeface="Arial" charset="0"/>
                <a:buNone/>
              </a:pPr>
              <a:r>
                <a:rPr lang="ru-RU" sz="2000" b="1" dirty="0">
                  <a:solidFill>
                    <a:srgbClr val="832521"/>
                  </a:solidFill>
                  <a:cs typeface="Times New Roman" pitchFamily="18" charset="0"/>
                </a:rPr>
                <a:t>ДЕПАРТАМЕНТ ТОРГОВЛИ И УСЛУГ ГОРОДА МОСКВЫ </a:t>
              </a:r>
            </a:p>
          </p:txBody>
        </p:sp>
      </p:grpSp>
      <p:pic>
        <p:nvPicPr>
          <p:cNvPr id="53" name="Picture 27" descr="emblem.gi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386763" y="0"/>
            <a:ext cx="646112" cy="836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" descr="Описание: image.jpe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259632" y="1124744"/>
            <a:ext cx="6527782" cy="5616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Прямоугольник 12"/>
          <p:cNvSpPr/>
          <p:nvPr/>
        </p:nvSpPr>
        <p:spPr>
          <a:xfrm>
            <a:off x="251520" y="836712"/>
            <a:ext cx="88924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tx2">
                    <a:lumMod val="40000"/>
                    <a:lumOff val="60000"/>
                  </a:schemeClr>
                </a:solidFill>
              </a:rPr>
              <a:t>Проект Листовки по предоставлению мест на ярмарках выходного дня в электронном виде</a:t>
            </a:r>
            <a:endParaRPr lang="ru-RU" sz="1600" b="1" dirty="0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</p:spTree>
  </p:cSld>
  <p:clrMapOvr>
    <a:masterClrMapping/>
  </p:clrMapOvr>
  <p:transition spd="med">
    <p:zoom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2"/>
          <p:cNvGrpSpPr>
            <a:grpSpLocks/>
          </p:cNvGrpSpPr>
          <p:nvPr/>
        </p:nvGrpSpPr>
        <p:grpSpPr bwMode="auto">
          <a:xfrm>
            <a:off x="0" y="0"/>
            <a:ext cx="9667751" cy="822326"/>
            <a:chOff x="0" y="-792087"/>
            <a:chExt cx="9667727" cy="822325"/>
          </a:xfrm>
        </p:grpSpPr>
        <p:grpSp>
          <p:nvGrpSpPr>
            <p:cNvPr id="3" name="Group 2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0" y="-792087"/>
              <a:ext cx="9143978" cy="822325"/>
              <a:chOff x="0" y="-764052"/>
              <a:chExt cx="9905976" cy="821625"/>
            </a:xfrm>
          </p:grpSpPr>
          <p:pic>
            <p:nvPicPr>
              <p:cNvPr id="49" name="Picture 19" descr="bg-top-left.gif"/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>
              <a:blip r:embed="rId7" cstate="print"/>
              <a:srcRect t="21519"/>
              <a:stretch>
                <a:fillRect/>
              </a:stretch>
            </p:blipFill>
            <p:spPr bwMode="auto">
              <a:xfrm>
                <a:off x="0" y="-764052"/>
                <a:ext cx="3525078" cy="821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" name="Picture 21" descr="bg-top-left.gif"/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>
              <a:blip r:embed="rId7" cstate="print"/>
              <a:srcRect l="82330" t="21519"/>
              <a:stretch>
                <a:fillRect/>
              </a:stretch>
            </p:blipFill>
            <p:spPr bwMode="auto">
              <a:xfrm>
                <a:off x="2544394" y="-764052"/>
                <a:ext cx="7361582" cy="821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46" name="Text 1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07504" y="-531439"/>
              <a:ext cx="9560223" cy="30797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330200" eaLnBrk="0" hangingPunct="0">
                <a:buFont typeface="Arial" charset="0"/>
                <a:buNone/>
              </a:pPr>
              <a:r>
                <a:rPr lang="ru-RU" sz="2000" b="1" dirty="0">
                  <a:solidFill>
                    <a:srgbClr val="832521"/>
                  </a:solidFill>
                  <a:cs typeface="Times New Roman" pitchFamily="18" charset="0"/>
                </a:rPr>
                <a:t>ДЕПАРТАМЕНТ ТОРГОВЛИ И УСЛУГ ГОРОДА МОСКВЫ </a:t>
              </a:r>
            </a:p>
          </p:txBody>
        </p:sp>
      </p:grpSp>
      <p:pic>
        <p:nvPicPr>
          <p:cNvPr id="53" name="Picture 27" descr="emblem.gi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386763" y="0"/>
            <a:ext cx="646112" cy="836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6127" y="1772815"/>
            <a:ext cx="8960369" cy="4968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Стрелка вправо 14"/>
          <p:cNvSpPr/>
          <p:nvPr/>
        </p:nvSpPr>
        <p:spPr>
          <a:xfrm rot="13846497">
            <a:off x="4144663" y="3199751"/>
            <a:ext cx="638647" cy="242474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79512" y="764704"/>
            <a:ext cx="820891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ШАГ – 1 </a:t>
            </a:r>
          </a:p>
          <a:p>
            <a:pPr algn="ctr"/>
            <a:r>
              <a:rPr lang="ru-RU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Заходим на Портал государственных и муниципальных услуг (функций) города Москвы </a:t>
            </a:r>
            <a:r>
              <a:rPr lang="en-US" sz="2400" b="1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www.pgu.mos.ru</a:t>
            </a:r>
            <a:r>
              <a:rPr lang="ru-RU" sz="2400" b="1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и выбираем раздел «Электронные услуги»</a:t>
            </a:r>
            <a:endParaRPr lang="ru-RU" dirty="0">
              <a:solidFill>
                <a:schemeClr val="tx2">
                  <a:lumMod val="40000"/>
                  <a:lumOff val="6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2"/>
          <p:cNvGrpSpPr>
            <a:grpSpLocks/>
          </p:cNvGrpSpPr>
          <p:nvPr/>
        </p:nvGrpSpPr>
        <p:grpSpPr bwMode="auto">
          <a:xfrm>
            <a:off x="0" y="0"/>
            <a:ext cx="9667751" cy="822326"/>
            <a:chOff x="0" y="-792087"/>
            <a:chExt cx="9667727" cy="822325"/>
          </a:xfrm>
        </p:grpSpPr>
        <p:grpSp>
          <p:nvGrpSpPr>
            <p:cNvPr id="3" name="Group 2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0" y="-792087"/>
              <a:ext cx="9143978" cy="822325"/>
              <a:chOff x="0" y="-764052"/>
              <a:chExt cx="9905976" cy="821625"/>
            </a:xfrm>
          </p:grpSpPr>
          <p:pic>
            <p:nvPicPr>
              <p:cNvPr id="49" name="Picture 19" descr="bg-top-left.gif"/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>
              <a:blip r:embed="rId7" cstate="print"/>
              <a:srcRect t="21519"/>
              <a:stretch>
                <a:fillRect/>
              </a:stretch>
            </p:blipFill>
            <p:spPr bwMode="auto">
              <a:xfrm>
                <a:off x="0" y="-764052"/>
                <a:ext cx="3525078" cy="821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" name="Picture 21" descr="bg-top-left.gif"/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>
              <a:blip r:embed="rId7" cstate="print"/>
              <a:srcRect l="82330" t="21519"/>
              <a:stretch>
                <a:fillRect/>
              </a:stretch>
            </p:blipFill>
            <p:spPr bwMode="auto">
              <a:xfrm>
                <a:off x="2544394" y="-764052"/>
                <a:ext cx="7361582" cy="821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46" name="Text 1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07504" y="-531439"/>
              <a:ext cx="9560223" cy="30797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330200" eaLnBrk="0" hangingPunct="0">
                <a:buFont typeface="Arial" charset="0"/>
                <a:buNone/>
              </a:pPr>
              <a:r>
                <a:rPr lang="ru-RU" sz="2000" b="1" dirty="0">
                  <a:solidFill>
                    <a:srgbClr val="832521"/>
                  </a:solidFill>
                  <a:cs typeface="Times New Roman" pitchFamily="18" charset="0"/>
                </a:rPr>
                <a:t>ДЕПАРТАМЕНТ ТОРГОВЛИ И УСЛУГ ГОРОДА МОСКВЫ </a:t>
              </a:r>
            </a:p>
          </p:txBody>
        </p:sp>
      </p:grpSp>
      <p:pic>
        <p:nvPicPr>
          <p:cNvPr id="53" name="Picture 27" descr="emblem.gi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386763" y="0"/>
            <a:ext cx="646112" cy="836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8459" y="1628800"/>
            <a:ext cx="8947197" cy="5112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Стрелка вправо 15"/>
          <p:cNvSpPr/>
          <p:nvPr/>
        </p:nvSpPr>
        <p:spPr>
          <a:xfrm rot="2638451">
            <a:off x="3402891" y="3470779"/>
            <a:ext cx="648072" cy="279618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323528" y="764704"/>
            <a:ext cx="806489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ШАГ – 2 </a:t>
            </a:r>
          </a:p>
          <a:p>
            <a:pPr algn="ctr"/>
            <a:r>
              <a:rPr lang="ru-RU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Заходим в </a:t>
            </a:r>
            <a:r>
              <a:rPr lang="ru-RU" b="1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«Электронные услуги»  </a:t>
            </a:r>
            <a:r>
              <a:rPr lang="ru-RU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и выбираем раздел </a:t>
            </a:r>
            <a:r>
              <a:rPr lang="ru-RU" b="1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«Предоставление места для продажи товаров на ярмарках выходного дня» </a:t>
            </a:r>
            <a:endParaRPr lang="ru-RU" b="1" dirty="0">
              <a:solidFill>
                <a:schemeClr val="tx2">
                  <a:lumMod val="40000"/>
                  <a:lumOff val="6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2"/>
          <p:cNvGrpSpPr>
            <a:grpSpLocks/>
          </p:cNvGrpSpPr>
          <p:nvPr/>
        </p:nvGrpSpPr>
        <p:grpSpPr bwMode="auto">
          <a:xfrm>
            <a:off x="0" y="0"/>
            <a:ext cx="9667751" cy="822326"/>
            <a:chOff x="0" y="-792087"/>
            <a:chExt cx="9667727" cy="822325"/>
          </a:xfrm>
        </p:grpSpPr>
        <p:grpSp>
          <p:nvGrpSpPr>
            <p:cNvPr id="4" name="Group 2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0" y="-792087"/>
              <a:ext cx="9143978" cy="822325"/>
              <a:chOff x="0" y="-764052"/>
              <a:chExt cx="9905976" cy="821625"/>
            </a:xfrm>
          </p:grpSpPr>
          <p:pic>
            <p:nvPicPr>
              <p:cNvPr id="7" name="Picture 19" descr="bg-top-left.gif"/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>
              <a:blip r:embed="rId7" cstate="print"/>
              <a:srcRect t="21519"/>
              <a:stretch>
                <a:fillRect/>
              </a:stretch>
            </p:blipFill>
            <p:spPr bwMode="auto">
              <a:xfrm>
                <a:off x="0" y="-764052"/>
                <a:ext cx="3525078" cy="821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21" descr="bg-top-left.gif"/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>
              <a:blip r:embed="rId7" cstate="print"/>
              <a:srcRect l="82330" t="21519"/>
              <a:stretch>
                <a:fillRect/>
              </a:stretch>
            </p:blipFill>
            <p:spPr bwMode="auto">
              <a:xfrm>
                <a:off x="2544394" y="-764052"/>
                <a:ext cx="7361582" cy="821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6" name="Text 1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07504" y="-531439"/>
              <a:ext cx="9560223" cy="30797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330200" eaLnBrk="0" hangingPunct="0">
                <a:buFont typeface="Arial" charset="0"/>
                <a:buNone/>
              </a:pPr>
              <a:r>
                <a:rPr lang="ru-RU" sz="2000" b="1" dirty="0">
                  <a:solidFill>
                    <a:srgbClr val="832521"/>
                  </a:solidFill>
                  <a:cs typeface="Times New Roman" pitchFamily="18" charset="0"/>
                </a:rPr>
                <a:t>ДЕПАРТАМЕНТ ТОРГОВЛИ И УСЛУГ ГОРОДА МОСКВЫ </a:t>
              </a:r>
            </a:p>
          </p:txBody>
        </p:sp>
      </p:grpSp>
      <p:pic>
        <p:nvPicPr>
          <p:cNvPr id="14" name="Picture 27" descr="emblem.gi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388424" y="0"/>
            <a:ext cx="646112" cy="836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Прямоугольник 14"/>
          <p:cNvSpPr/>
          <p:nvPr/>
        </p:nvSpPr>
        <p:spPr>
          <a:xfrm>
            <a:off x="827584" y="836712"/>
            <a:ext cx="75608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ШАГ – 3 </a:t>
            </a:r>
          </a:p>
          <a:p>
            <a:pPr algn="ctr"/>
            <a:r>
              <a:rPr lang="ru-RU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Вводим логин и пароль (зарегистрированные в «</a:t>
            </a:r>
            <a:r>
              <a:rPr lang="ru-RU" b="1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Личном кабинете»)</a:t>
            </a:r>
            <a:endParaRPr lang="ru-RU" b="1" dirty="0">
              <a:solidFill>
                <a:schemeClr val="tx2">
                  <a:lumMod val="40000"/>
                  <a:lumOff val="6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7864" y="1484784"/>
            <a:ext cx="8972333" cy="52565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Стрелка вправо 10"/>
          <p:cNvSpPr/>
          <p:nvPr/>
        </p:nvSpPr>
        <p:spPr>
          <a:xfrm>
            <a:off x="251520" y="3573016"/>
            <a:ext cx="360040" cy="72008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трелка вправо 12"/>
          <p:cNvSpPr/>
          <p:nvPr/>
        </p:nvSpPr>
        <p:spPr>
          <a:xfrm flipV="1">
            <a:off x="251520" y="3933056"/>
            <a:ext cx="360040" cy="72008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ransition spd="med">
    <p:zoom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2"/>
          <p:cNvGrpSpPr>
            <a:grpSpLocks/>
          </p:cNvGrpSpPr>
          <p:nvPr/>
        </p:nvGrpSpPr>
        <p:grpSpPr bwMode="auto">
          <a:xfrm>
            <a:off x="0" y="0"/>
            <a:ext cx="9667751" cy="822326"/>
            <a:chOff x="0" y="-792087"/>
            <a:chExt cx="9667727" cy="822325"/>
          </a:xfrm>
        </p:grpSpPr>
        <p:grpSp>
          <p:nvGrpSpPr>
            <p:cNvPr id="3" name="Group 2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0" y="-792087"/>
              <a:ext cx="9143978" cy="822325"/>
              <a:chOff x="0" y="-764052"/>
              <a:chExt cx="9905976" cy="821625"/>
            </a:xfrm>
          </p:grpSpPr>
          <p:pic>
            <p:nvPicPr>
              <p:cNvPr id="49" name="Picture 19" descr="bg-top-left.gif"/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>
              <a:blip r:embed="rId7" cstate="print"/>
              <a:srcRect t="21519"/>
              <a:stretch>
                <a:fillRect/>
              </a:stretch>
            </p:blipFill>
            <p:spPr bwMode="auto">
              <a:xfrm>
                <a:off x="0" y="-764052"/>
                <a:ext cx="3525078" cy="821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" name="Picture 21" descr="bg-top-left.gif"/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>
              <a:blip r:embed="rId7" cstate="print"/>
              <a:srcRect l="82330" t="21519"/>
              <a:stretch>
                <a:fillRect/>
              </a:stretch>
            </p:blipFill>
            <p:spPr bwMode="auto">
              <a:xfrm>
                <a:off x="2544394" y="-764052"/>
                <a:ext cx="7361582" cy="821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46" name="Text 1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07504" y="-531439"/>
              <a:ext cx="9560223" cy="30797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330200" eaLnBrk="0" hangingPunct="0">
                <a:buFont typeface="Arial" charset="0"/>
                <a:buNone/>
              </a:pPr>
              <a:r>
                <a:rPr lang="ru-RU" sz="2000" b="1" dirty="0">
                  <a:solidFill>
                    <a:srgbClr val="832521"/>
                  </a:solidFill>
                  <a:cs typeface="Times New Roman" pitchFamily="18" charset="0"/>
                </a:rPr>
                <a:t>ДЕПАРТАМЕНТ ТОРГОВЛИ И УСЛУГ ГОРОДА МОСКВЫ </a:t>
              </a:r>
            </a:p>
          </p:txBody>
        </p:sp>
      </p:grpSp>
      <p:pic>
        <p:nvPicPr>
          <p:cNvPr id="53" name="Picture 27" descr="emblem.gi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386763" y="0"/>
            <a:ext cx="646112" cy="836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1942" y="1628800"/>
            <a:ext cx="9005148" cy="5112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Стрелка вправо 16"/>
          <p:cNvSpPr/>
          <p:nvPr/>
        </p:nvSpPr>
        <p:spPr>
          <a:xfrm>
            <a:off x="2771800" y="4653136"/>
            <a:ext cx="504056" cy="144016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179512" y="764704"/>
            <a:ext cx="820891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ШАГ – 4 (Фома подачи заявления)</a:t>
            </a:r>
          </a:p>
          <a:p>
            <a:pPr algn="ctr"/>
            <a:r>
              <a:rPr lang="ru-RU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Выбираем категорию заявителя и заполняем поля, отмеченные «красной звездочкой», после заполнения нажимаем кнопку </a:t>
            </a:r>
            <a:r>
              <a:rPr lang="ru-RU" b="1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«ДАЛЕЕ»</a:t>
            </a:r>
            <a:endParaRPr lang="ru-RU" dirty="0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</p:spTree>
  </p:cSld>
  <p:clrMapOvr>
    <a:masterClrMapping/>
  </p:clrMapOvr>
  <p:transition spd="med">
    <p:zoom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2"/>
          <p:cNvGrpSpPr>
            <a:grpSpLocks/>
          </p:cNvGrpSpPr>
          <p:nvPr/>
        </p:nvGrpSpPr>
        <p:grpSpPr bwMode="auto">
          <a:xfrm>
            <a:off x="0" y="0"/>
            <a:ext cx="9667751" cy="822326"/>
            <a:chOff x="0" y="-792087"/>
            <a:chExt cx="9667727" cy="822325"/>
          </a:xfrm>
        </p:grpSpPr>
        <p:grpSp>
          <p:nvGrpSpPr>
            <p:cNvPr id="3" name="Group 2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0" y="-792087"/>
              <a:ext cx="9143978" cy="822325"/>
              <a:chOff x="0" y="-764052"/>
              <a:chExt cx="9905976" cy="821625"/>
            </a:xfrm>
          </p:grpSpPr>
          <p:pic>
            <p:nvPicPr>
              <p:cNvPr id="49" name="Picture 19" descr="bg-top-left.gif"/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>
              <a:blip r:embed="rId7" cstate="print"/>
              <a:srcRect t="21519"/>
              <a:stretch>
                <a:fillRect/>
              </a:stretch>
            </p:blipFill>
            <p:spPr bwMode="auto">
              <a:xfrm>
                <a:off x="0" y="-764052"/>
                <a:ext cx="3525078" cy="821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" name="Picture 21" descr="bg-top-left.gif"/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>
              <a:blip r:embed="rId7" cstate="print"/>
              <a:srcRect l="82330" t="21519"/>
              <a:stretch>
                <a:fillRect/>
              </a:stretch>
            </p:blipFill>
            <p:spPr bwMode="auto">
              <a:xfrm>
                <a:off x="2544394" y="-764052"/>
                <a:ext cx="7361582" cy="821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46" name="Text 1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07504" y="-531439"/>
              <a:ext cx="9560223" cy="30797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330200" eaLnBrk="0" hangingPunct="0">
                <a:buFont typeface="Arial" charset="0"/>
                <a:buNone/>
              </a:pPr>
              <a:r>
                <a:rPr lang="ru-RU" sz="2000" b="1" dirty="0">
                  <a:solidFill>
                    <a:srgbClr val="832521"/>
                  </a:solidFill>
                  <a:cs typeface="Times New Roman" pitchFamily="18" charset="0"/>
                </a:rPr>
                <a:t>ДЕПАРТАМЕНТ ТОРГОВЛИ И УСЛУГ ГОРОДА МОСКВЫ </a:t>
              </a:r>
            </a:p>
          </p:txBody>
        </p:sp>
      </p:grpSp>
      <p:pic>
        <p:nvPicPr>
          <p:cNvPr id="53" name="Picture 27" descr="emblem.gi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386763" y="0"/>
            <a:ext cx="646112" cy="836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9847" y="1484784"/>
            <a:ext cx="8947791" cy="52565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Стрелка вправо 16"/>
          <p:cNvSpPr/>
          <p:nvPr/>
        </p:nvSpPr>
        <p:spPr>
          <a:xfrm>
            <a:off x="611560" y="5373216"/>
            <a:ext cx="576064" cy="216024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b="1" dirty="0">
              <a:solidFill>
                <a:schemeClr val="tx1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79512" y="836712"/>
            <a:ext cx="820891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ШАГ – 5 </a:t>
            </a:r>
          </a:p>
          <a:p>
            <a:pPr algn="ctr"/>
            <a:r>
              <a:rPr lang="ru-RU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Выбираем торговые периоды на ярмарке  и  нажимаем кнопку </a:t>
            </a:r>
            <a:r>
              <a:rPr lang="ru-RU" b="1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«ДАЛЕЕ»</a:t>
            </a:r>
            <a:endParaRPr lang="ru-RU" b="1" dirty="0">
              <a:solidFill>
                <a:schemeClr val="tx2">
                  <a:lumMod val="40000"/>
                  <a:lumOff val="6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 spd="med">
    <p:zoom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2"/>
          <p:cNvGrpSpPr>
            <a:grpSpLocks/>
          </p:cNvGrpSpPr>
          <p:nvPr/>
        </p:nvGrpSpPr>
        <p:grpSpPr bwMode="auto">
          <a:xfrm>
            <a:off x="0" y="0"/>
            <a:ext cx="9667751" cy="822326"/>
            <a:chOff x="0" y="-792087"/>
            <a:chExt cx="9667727" cy="822325"/>
          </a:xfrm>
        </p:grpSpPr>
        <p:grpSp>
          <p:nvGrpSpPr>
            <p:cNvPr id="3" name="Group 2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0" y="-792087"/>
              <a:ext cx="9143978" cy="822325"/>
              <a:chOff x="0" y="-764052"/>
              <a:chExt cx="9905976" cy="821625"/>
            </a:xfrm>
          </p:grpSpPr>
          <p:pic>
            <p:nvPicPr>
              <p:cNvPr id="49" name="Picture 19" descr="bg-top-left.gif"/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>
              <a:blip r:embed="rId7" cstate="print"/>
              <a:srcRect t="21519"/>
              <a:stretch>
                <a:fillRect/>
              </a:stretch>
            </p:blipFill>
            <p:spPr bwMode="auto">
              <a:xfrm>
                <a:off x="0" y="-764052"/>
                <a:ext cx="3525078" cy="821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" name="Picture 21" descr="bg-top-left.gif"/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>
              <a:blip r:embed="rId7" cstate="print"/>
              <a:srcRect l="82330" t="21519"/>
              <a:stretch>
                <a:fillRect/>
              </a:stretch>
            </p:blipFill>
            <p:spPr bwMode="auto">
              <a:xfrm>
                <a:off x="2544394" y="-764052"/>
                <a:ext cx="7361582" cy="821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46" name="Text 1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07504" y="-531439"/>
              <a:ext cx="9560223" cy="30797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330200" eaLnBrk="0" hangingPunct="0">
                <a:buFont typeface="Arial" charset="0"/>
                <a:buNone/>
              </a:pPr>
              <a:r>
                <a:rPr lang="ru-RU" sz="2000" b="1" dirty="0">
                  <a:solidFill>
                    <a:srgbClr val="832521"/>
                  </a:solidFill>
                  <a:cs typeface="Times New Roman" pitchFamily="18" charset="0"/>
                </a:rPr>
                <a:t>ДЕПАРТАМЕНТ ТОРГОВЛИ И УСЛУГ ГОРОДА МОСКВЫ </a:t>
              </a:r>
            </a:p>
          </p:txBody>
        </p:sp>
      </p:grpSp>
      <p:pic>
        <p:nvPicPr>
          <p:cNvPr id="53" name="Picture 27" descr="emblem.gi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386763" y="0"/>
            <a:ext cx="646112" cy="836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94172" y="1340768"/>
            <a:ext cx="8942324" cy="54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Прямоугольник 13"/>
          <p:cNvSpPr/>
          <p:nvPr/>
        </p:nvSpPr>
        <p:spPr>
          <a:xfrm>
            <a:off x="827584" y="764704"/>
            <a:ext cx="73448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ШАГ – 6</a:t>
            </a:r>
          </a:p>
          <a:p>
            <a:pPr algn="ctr"/>
            <a:r>
              <a:rPr lang="ru-RU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Заполняем поля, отмеченные «красной звездочкой»</a:t>
            </a:r>
            <a:endParaRPr lang="ru-RU" b="1" dirty="0">
              <a:solidFill>
                <a:schemeClr val="tx2">
                  <a:lumMod val="40000"/>
                  <a:lumOff val="6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 spd="med">
    <p:zoom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2"/>
          <p:cNvGrpSpPr>
            <a:grpSpLocks/>
          </p:cNvGrpSpPr>
          <p:nvPr/>
        </p:nvGrpSpPr>
        <p:grpSpPr bwMode="auto">
          <a:xfrm>
            <a:off x="0" y="0"/>
            <a:ext cx="9667751" cy="822326"/>
            <a:chOff x="0" y="-792087"/>
            <a:chExt cx="9667727" cy="822325"/>
          </a:xfrm>
        </p:grpSpPr>
        <p:grpSp>
          <p:nvGrpSpPr>
            <p:cNvPr id="3" name="Group 2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0" y="-792087"/>
              <a:ext cx="9143978" cy="822325"/>
              <a:chOff x="0" y="-764052"/>
              <a:chExt cx="9905976" cy="821625"/>
            </a:xfrm>
          </p:grpSpPr>
          <p:pic>
            <p:nvPicPr>
              <p:cNvPr id="49" name="Picture 19" descr="bg-top-left.gif"/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>
              <a:blip r:embed="rId7" cstate="print"/>
              <a:srcRect t="21519"/>
              <a:stretch>
                <a:fillRect/>
              </a:stretch>
            </p:blipFill>
            <p:spPr bwMode="auto">
              <a:xfrm>
                <a:off x="0" y="-764052"/>
                <a:ext cx="3525078" cy="821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" name="Picture 21" descr="bg-top-left.gif"/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>
              <a:blip r:embed="rId7" cstate="print"/>
              <a:srcRect l="82330" t="21519"/>
              <a:stretch>
                <a:fillRect/>
              </a:stretch>
            </p:blipFill>
            <p:spPr bwMode="auto">
              <a:xfrm>
                <a:off x="2544394" y="-764052"/>
                <a:ext cx="7361582" cy="821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46" name="Text 1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07504" y="-531439"/>
              <a:ext cx="9560223" cy="30797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330200" eaLnBrk="0" hangingPunct="0">
                <a:buFont typeface="Arial" charset="0"/>
                <a:buNone/>
              </a:pPr>
              <a:r>
                <a:rPr lang="ru-RU" sz="2000" b="1" dirty="0">
                  <a:solidFill>
                    <a:srgbClr val="832521"/>
                  </a:solidFill>
                  <a:cs typeface="Times New Roman" pitchFamily="18" charset="0"/>
                </a:rPr>
                <a:t>ДЕПАРТАМЕНТ ТОРГОВЛИ И УСЛУГ ГОРОДА МОСКВЫ </a:t>
              </a:r>
            </a:p>
          </p:txBody>
        </p:sp>
      </p:grpSp>
      <p:pic>
        <p:nvPicPr>
          <p:cNvPr id="53" name="Picture 27" descr="emblem.gi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386763" y="0"/>
            <a:ext cx="646112" cy="836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7503" y="1412776"/>
            <a:ext cx="8946701" cy="53285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Стрелка вправо 15"/>
          <p:cNvSpPr/>
          <p:nvPr/>
        </p:nvSpPr>
        <p:spPr>
          <a:xfrm rot="1361219">
            <a:off x="1276221" y="4769758"/>
            <a:ext cx="648072" cy="216024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827584" y="764705"/>
            <a:ext cx="76328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ШАГ – 7</a:t>
            </a:r>
          </a:p>
          <a:p>
            <a:pPr algn="ctr"/>
            <a:r>
              <a:rPr lang="ru-RU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сле заполнения нажимаем кнопку </a:t>
            </a:r>
            <a:r>
              <a:rPr lang="ru-RU" sz="1600" b="1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«ПОДАТЬ ЗАЯВЛЕНИЕ»</a:t>
            </a:r>
            <a:endParaRPr lang="ru-RU" dirty="0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</p:spTree>
  </p:cSld>
  <p:clrMapOvr>
    <a:masterClrMapping/>
  </p:clrMapOvr>
  <p:transition spd="med">
    <p:zoom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TextBox 77"/>
          <p:cNvSpPr txBox="1"/>
          <p:nvPr/>
        </p:nvSpPr>
        <p:spPr>
          <a:xfrm>
            <a:off x="251520" y="1340768"/>
            <a:ext cx="87849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езультат предоставления государственной услуги будет направлен заявителю в форме  электронного документа, подписанного в установленном порядке с использованием электронной подписи, в «личный кабинет» заявителя на Портале.</a:t>
            </a:r>
          </a:p>
        </p:txBody>
      </p:sp>
      <p:grpSp>
        <p:nvGrpSpPr>
          <p:cNvPr id="2" name="Группа 12"/>
          <p:cNvGrpSpPr>
            <a:grpSpLocks/>
          </p:cNvGrpSpPr>
          <p:nvPr/>
        </p:nvGrpSpPr>
        <p:grpSpPr bwMode="auto">
          <a:xfrm>
            <a:off x="0" y="0"/>
            <a:ext cx="9667751" cy="822326"/>
            <a:chOff x="0" y="-792087"/>
            <a:chExt cx="9667727" cy="822325"/>
          </a:xfrm>
        </p:grpSpPr>
        <p:grpSp>
          <p:nvGrpSpPr>
            <p:cNvPr id="3" name="Group 25"/>
            <p:cNvGrpSpPr>
              <a:grpSpLocks/>
            </p:cNvGrpSpPr>
            <p:nvPr>
              <p:custDataLst>
                <p:tags r:id="rId2"/>
              </p:custDataLst>
            </p:nvPr>
          </p:nvGrpSpPr>
          <p:grpSpPr bwMode="auto">
            <a:xfrm>
              <a:off x="0" y="-792087"/>
              <a:ext cx="9143978" cy="822325"/>
              <a:chOff x="0" y="-764052"/>
              <a:chExt cx="9905976" cy="821625"/>
            </a:xfrm>
          </p:grpSpPr>
          <p:pic>
            <p:nvPicPr>
              <p:cNvPr id="49" name="Picture 19" descr="bg-top-left.gif"/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>
              <a:blip r:embed="rId7" cstate="print"/>
              <a:srcRect t="21519"/>
              <a:stretch>
                <a:fillRect/>
              </a:stretch>
            </p:blipFill>
            <p:spPr bwMode="auto">
              <a:xfrm>
                <a:off x="0" y="-764052"/>
                <a:ext cx="3525078" cy="821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" name="Picture 21" descr="bg-top-left.gif"/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>
              <a:blip r:embed="rId7" cstate="print"/>
              <a:srcRect l="82330" t="21519"/>
              <a:stretch>
                <a:fillRect/>
              </a:stretch>
            </p:blipFill>
            <p:spPr bwMode="auto">
              <a:xfrm>
                <a:off x="2544394" y="-764052"/>
                <a:ext cx="7361582" cy="8216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46" name="Text 1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07504" y="-531439"/>
              <a:ext cx="9560223" cy="307975"/>
            </a:xfrm>
            <a:prstGeom prst="rect">
              <a:avLst/>
            </a:prstGeom>
            <a:noFill/>
            <a:ln w="635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330200" eaLnBrk="0" hangingPunct="0">
                <a:buFont typeface="Arial" charset="0"/>
                <a:buNone/>
              </a:pPr>
              <a:r>
                <a:rPr lang="ru-RU" sz="2000" b="1" dirty="0">
                  <a:solidFill>
                    <a:srgbClr val="832521"/>
                  </a:solidFill>
                  <a:cs typeface="Times New Roman" pitchFamily="18" charset="0"/>
                </a:rPr>
                <a:t>ДЕПАРТАМЕНТ ТОРГОВЛИ И УСЛУГ ГОРОДА МОСКВЫ </a:t>
              </a:r>
            </a:p>
          </p:txBody>
        </p:sp>
      </p:grpSp>
      <p:pic>
        <p:nvPicPr>
          <p:cNvPr id="53" name="Picture 27" descr="emblem.gif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386763" y="0"/>
            <a:ext cx="646112" cy="836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 descr="C:\Documents and Settings\Station14\Рабочий стол\iCA1Y1JKH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203848" y="2780928"/>
            <a:ext cx="3168351" cy="2395910"/>
          </a:xfrm>
          <a:prstGeom prst="rect">
            <a:avLst/>
          </a:prstGeom>
          <a:noFill/>
        </p:spPr>
      </p:pic>
    </p:spTree>
  </p:cSld>
  <p:clrMapOvr>
    <a:masterClrMapping/>
  </p:clrMapOvr>
  <p:transition spd="med">
    <p:zoom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YSaXzCqkO38q7drbCX7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YSaXzCqkO38q7drbCX7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HY9n7je0.b2umw.yPe.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YSaXzCqkO38q7drbCX7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HY9n7je0.b2umw.yPe.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HY9n7je0.b2umw.yPe.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YSaXzCqkO38q7drbCX7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HY9n7je0.b2umw.yPe.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YSaXzCqkO38q7drbCX7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HY9n7je0.b2umw.yPe.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YSaXzCqkO38q7drbCX7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HY9n7je0.b2umw.yPe.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YSaXzCqkO38q7drbCX7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HY9n7je0.b2umw.yPe.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YSaXzCqkO38q7drbCX7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HY9n7je0.b2umw.yPe.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YSaXzCqkO38q7drbCX7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HY9n7je0.b2umw.yPe.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YSaXzCqkO38q7drbCX7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HY9n7je0.b2umw.yPe.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Апекс">
  <a:themeElements>
    <a:clrScheme name="Апекс">
      <a:dk1>
        <a:sysClr val="windowText" lastClr="000000"/>
      </a:dk1>
      <a:lt1>
        <a:sysClr val="window" lastClr="FFFFFF"/>
      </a:lt1>
      <a:dk2>
        <a:srgbClr val="69676D"/>
      </a:dk2>
      <a:lt2>
        <a:srgbClr val="C9C2D1"/>
      </a:lt2>
      <a:accent1>
        <a:srgbClr val="CEB966"/>
      </a:accent1>
      <a:accent2>
        <a:srgbClr val="9CB084"/>
      </a:accent2>
      <a:accent3>
        <a:srgbClr val="6BB1C9"/>
      </a:accent3>
      <a:accent4>
        <a:srgbClr val="6585CF"/>
      </a:accent4>
      <a:accent5>
        <a:srgbClr val="7E6BC9"/>
      </a:accent5>
      <a:accent6>
        <a:srgbClr val="A379BB"/>
      </a:accent6>
      <a:hlink>
        <a:srgbClr val="410082"/>
      </a:hlink>
      <a:folHlink>
        <a:srgbClr val="932968"/>
      </a:folHlink>
    </a:clrScheme>
    <a:fontScheme name="Апекс">
      <a:majorFont>
        <a:latin typeface="Lucida Sans"/>
        <a:ea typeface=""/>
        <a:cs typeface=""/>
        <a:font script="Grek" typeface="Arial"/>
        <a:font script="Cyrl" typeface="Arial"/>
        <a:font script="Jpan" typeface="HG丸ｺﾞｼｯｸM-PRO"/>
        <a:font script="Hang" typeface="휴먼옛체"/>
        <a:font script="Hans" typeface="黑体"/>
        <a:font script="Hant" typeface="微軟正黑體"/>
        <a:font script="Arab" typeface="Tahoma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明朝B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Апекс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180000"/>
              </a:schemeClr>
            </a:gs>
            <a:gs pos="100000">
              <a:schemeClr val="phClr">
                <a:shade val="45000"/>
                <a:satMod val="120000"/>
              </a:schemeClr>
            </a:gs>
          </a:gsLst>
          <a:path path="circle">
            <a:fillToRect r="1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3000"/>
                <a:satMod val="110000"/>
              </a:schemeClr>
              <a:schemeClr val="phClr">
                <a:tint val="60000"/>
                <a:satMod val="425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617</TotalTime>
  <Words>240</Words>
  <Application>Microsoft Office PowerPoint</Application>
  <PresentationFormat>Экран (4:3)</PresentationFormat>
  <Paragraphs>28</Paragraphs>
  <Slides>10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1" baseType="lpstr">
      <vt:lpstr>Апекс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Департамент торговли и услуг г. Москвы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nyone</dc:creator>
  <cp:lastModifiedBy>Поликарпов В.В.</cp:lastModifiedBy>
  <cp:revision>63</cp:revision>
  <dcterms:created xsi:type="dcterms:W3CDTF">2013-07-05T07:06:41Z</dcterms:created>
  <dcterms:modified xsi:type="dcterms:W3CDTF">2014-04-08T07:58:35Z</dcterms:modified>
</cp:coreProperties>
</file>